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Lst>
  <p:notesMasterIdLst>
    <p:notesMasterId r:id="rId58"/>
  </p:notesMasterIdLst>
  <p:handoutMasterIdLst>
    <p:handoutMasterId r:id="rId59"/>
  </p:handoutMasterIdLst>
  <p:sldIdLst>
    <p:sldId id="1543" r:id="rId9"/>
    <p:sldId id="1630" r:id="rId10"/>
    <p:sldId id="1595" r:id="rId11"/>
    <p:sldId id="1596" r:id="rId12"/>
    <p:sldId id="1545" r:id="rId13"/>
    <p:sldId id="1615" r:id="rId14"/>
    <p:sldId id="1511" r:id="rId15"/>
    <p:sldId id="1554" r:id="rId16"/>
    <p:sldId id="1593" r:id="rId17"/>
    <p:sldId id="1581" r:id="rId18"/>
    <p:sldId id="1425" r:id="rId19"/>
    <p:sldId id="1423" r:id="rId20"/>
    <p:sldId id="1538" r:id="rId21"/>
    <p:sldId id="1597" r:id="rId22"/>
    <p:sldId id="1598" r:id="rId23"/>
    <p:sldId id="1624" r:id="rId24"/>
    <p:sldId id="1616" r:id="rId25"/>
    <p:sldId id="1599" r:id="rId26"/>
    <p:sldId id="1600" r:id="rId27"/>
    <p:sldId id="1617" r:id="rId28"/>
    <p:sldId id="1587" r:id="rId29"/>
    <p:sldId id="1618" r:id="rId30"/>
    <p:sldId id="1613" r:id="rId31"/>
    <p:sldId id="1634" r:id="rId32"/>
    <p:sldId id="1635" r:id="rId33"/>
    <p:sldId id="1636" r:id="rId34"/>
    <p:sldId id="1637" r:id="rId35"/>
    <p:sldId id="1641" r:id="rId36"/>
    <p:sldId id="1642" r:id="rId37"/>
    <p:sldId id="1628" r:id="rId38"/>
    <p:sldId id="1629" r:id="rId39"/>
    <p:sldId id="1639" r:id="rId40"/>
    <p:sldId id="1621" r:id="rId41"/>
    <p:sldId id="1608" r:id="rId42"/>
    <p:sldId id="1619" r:id="rId43"/>
    <p:sldId id="1620" r:id="rId44"/>
    <p:sldId id="1610" r:id="rId45"/>
    <p:sldId id="1625" r:id="rId46"/>
    <p:sldId id="1626" r:id="rId47"/>
    <p:sldId id="1627" r:id="rId48"/>
    <p:sldId id="1631" r:id="rId49"/>
    <p:sldId id="1645" r:id="rId50"/>
    <p:sldId id="1640" r:id="rId51"/>
    <p:sldId id="1643" r:id="rId52"/>
    <p:sldId id="1644" r:id="rId53"/>
    <p:sldId id="1646" r:id="rId54"/>
    <p:sldId id="1602" r:id="rId55"/>
    <p:sldId id="1579" r:id="rId56"/>
    <p:sldId id="1633" r:id="rId5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id="{AE95F46A-0F83-47CF-9808-D49DA7FEACBD}">
          <p14:sldIdLst>
            <p14:sldId id="1620"/>
            <p14:sldId id="1610"/>
            <p14:sldId id="1625"/>
            <p14:sldId id="1626"/>
            <p14:sldId id="162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5252" autoAdjust="0"/>
  </p:normalViewPr>
  <p:slideViewPr>
    <p:cSldViewPr>
      <p:cViewPr varScale="1">
        <p:scale>
          <a:sx n="59" d="100"/>
          <a:sy n="59" d="100"/>
        </p:scale>
        <p:origin x="1172" y="2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8/2015 12:18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8/2015 12:17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2: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12:1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2: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3</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2: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2: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12: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12: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12: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8/2015 12: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customXml" Target="../../customXml/item1.xml"/><Relationship Id="rId7" Type="http://schemas.openxmlformats.org/officeDocument/2006/relationships/image" Target="../media/image260.emf"/><Relationship Id="rId12" Type="http://schemas.openxmlformats.org/officeDocument/2006/relationships/image" Target="../media/image265.png"/><Relationship Id="rId2" Type="http://schemas.openxmlformats.org/officeDocument/2006/relationships/customXml" Target="../../customXml/item4.xml"/><Relationship Id="rId1" Type="http://schemas.openxmlformats.org/officeDocument/2006/relationships/customXml" Target="../../customXml/item5.xml"/><Relationship Id="rId6" Type="http://schemas.openxmlformats.org/officeDocument/2006/relationships/image" Target="../media/image259.emf"/><Relationship Id="rId11" Type="http://schemas.openxmlformats.org/officeDocument/2006/relationships/image" Target="../media/image264.emf"/><Relationship Id="rId5" Type="http://schemas.openxmlformats.org/officeDocument/2006/relationships/notesSlide" Target="../notesSlides/notesSlide31.xml"/><Relationship Id="rId10" Type="http://schemas.openxmlformats.org/officeDocument/2006/relationships/image" Target="../media/image263.emf"/><Relationship Id="rId4" Type="http://schemas.openxmlformats.org/officeDocument/2006/relationships/slideLayout" Target="../slideLayouts/slideLayout16.xml"/><Relationship Id="rId9" Type="http://schemas.openxmlformats.org/officeDocument/2006/relationships/image" Target="../media/image262.png"/></Relationships>
</file>

<file path=ppt/slides/_rels/slide43.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notesSlide" Target="../notesSlides/notesSlide32.xml"/><Relationship Id="rId7" Type="http://schemas.openxmlformats.org/officeDocument/2006/relationships/image" Target="../media/image269.png"/><Relationship Id="rId2" Type="http://schemas.openxmlformats.org/officeDocument/2006/relationships/slideLayout" Target="../slideLayouts/slideLayout25.xml"/><Relationship Id="rId1" Type="http://schemas.openxmlformats.org/officeDocument/2006/relationships/customXml" Target="../../customXml/item6.xml"/><Relationship Id="rId6" Type="http://schemas.openxmlformats.org/officeDocument/2006/relationships/image" Target="../media/image268.emf"/><Relationship Id="rId5" Type="http://schemas.openxmlformats.org/officeDocument/2006/relationships/image" Target="../media/image267.png"/><Relationship Id="rId4" Type="http://schemas.openxmlformats.org/officeDocument/2006/relationships/image" Target="../media/image266.emf"/><Relationship Id="rId9" Type="http://schemas.openxmlformats.org/officeDocument/2006/relationships/image" Target="../media/image271.png"/></Relationships>
</file>

<file path=ppt/slides/_rels/slide44.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3.xml"/><Relationship Id="rId1" Type="http://schemas.openxmlformats.org/officeDocument/2006/relationships/slideLayout" Target="../slideLayouts/slideLayout16.xml"/><Relationship Id="rId5" Type="http://schemas.openxmlformats.org/officeDocument/2006/relationships/image" Target="../media/image273.png"/><Relationship Id="rId4" Type="http://schemas.openxmlformats.org/officeDocument/2006/relationships/image" Target="../media/image272.png"/></Relationships>
</file>

<file path=ppt/slides/_rels/slide45.xml.rels><?xml version="1.0" encoding="UTF-8" standalone="yes"?>
<Relationships xmlns="http://schemas.openxmlformats.org/package/2006/relationships"><Relationship Id="rId8" Type="http://schemas.openxmlformats.org/officeDocument/2006/relationships/image" Target="../media/image279.png"/><Relationship Id="rId3" Type="http://schemas.openxmlformats.org/officeDocument/2006/relationships/image" Target="../media/image274.PNG"/><Relationship Id="rId7" Type="http://schemas.openxmlformats.org/officeDocument/2006/relationships/image" Target="../media/image278.png"/><Relationship Id="rId12" Type="http://schemas.openxmlformats.org/officeDocument/2006/relationships/image" Target="../media/image283.png"/><Relationship Id="rId2" Type="http://schemas.openxmlformats.org/officeDocument/2006/relationships/notesSlide" Target="../notesSlides/notesSlide34.xml"/><Relationship Id="rId1" Type="http://schemas.openxmlformats.org/officeDocument/2006/relationships/slideLayout" Target="../slideLayouts/slideLayout16.xml"/><Relationship Id="rId6" Type="http://schemas.openxmlformats.org/officeDocument/2006/relationships/image" Target="../media/image277.png"/><Relationship Id="rId11" Type="http://schemas.openxmlformats.org/officeDocument/2006/relationships/image" Target="../media/image282.png"/><Relationship Id="rId5" Type="http://schemas.openxmlformats.org/officeDocument/2006/relationships/image" Target="../media/image276.png"/><Relationship Id="rId10" Type="http://schemas.openxmlformats.org/officeDocument/2006/relationships/image" Target="../media/image281.png"/><Relationship Id="rId4" Type="http://schemas.openxmlformats.org/officeDocument/2006/relationships/image" Target="../media/image275.png"/><Relationship Id="rId9" Type="http://schemas.openxmlformats.org/officeDocument/2006/relationships/image" Target="../media/image280.png"/></Relationships>
</file>

<file path=ppt/slides/_rels/slide46.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84.png"/><Relationship Id="rId7" Type="http://schemas.openxmlformats.org/officeDocument/2006/relationships/image" Target="../media/image287.png"/><Relationship Id="rId12" Type="http://schemas.openxmlformats.org/officeDocument/2006/relationships/image" Target="../media/image290.png"/><Relationship Id="rId2" Type="http://schemas.openxmlformats.org/officeDocument/2006/relationships/notesSlide" Target="../notesSlides/notesSlide35.xml"/><Relationship Id="rId1" Type="http://schemas.openxmlformats.org/officeDocument/2006/relationships/slideLayout" Target="../slideLayouts/slideLayout16.xml"/><Relationship Id="rId6" Type="http://schemas.openxmlformats.org/officeDocument/2006/relationships/image" Target="../media/image286.png"/><Relationship Id="rId11" Type="http://schemas.openxmlformats.org/officeDocument/2006/relationships/image" Target="../media/image289.png"/><Relationship Id="rId5" Type="http://schemas.openxmlformats.org/officeDocument/2006/relationships/image" Target="../media/image268.emf"/><Relationship Id="rId10" Type="http://schemas.openxmlformats.org/officeDocument/2006/relationships/image" Target="../media/image288.png"/><Relationship Id="rId4" Type="http://schemas.openxmlformats.org/officeDocument/2006/relationships/image" Target="../media/image285.png"/><Relationship Id="rId9" Type="http://schemas.openxmlformats.org/officeDocument/2006/relationships/image" Target="../media/image224.png"/></Relationships>
</file>

<file path=ppt/slides/_rels/slide4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a:t>
              </a:r>
              <a:r>
                <a:rPr lang="en-US" sz="1400" spc="-50" smtClean="0">
                  <a:solidFill>
                    <a:srgbClr val="002060"/>
                  </a:solidFill>
                </a:rPr>
                <a:t>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e3e06cf2-79b7-4f70-a145-44903a30dc14" Revision="1" Stencil="System.MyShapes" StencilVersion="1.0"/>
</Control>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ontrol xmlns="http://schemas.microsoft.com/VisualStudio/2011/storyboarding/control">
  <Id Name="e3e06cf2-79b7-4f70-a145-44903a30dc14"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d45d9a28-4d48-4835-9009-441d319c6f12" Revision="1" Stencil="System.MyShapes" StencilVersion="1.0"/>
</Control>
</file>

<file path=customXml/item7.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7.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5498</Words>
  <Application>Microsoft Office PowerPoint</Application>
  <PresentationFormat>Custom</PresentationFormat>
  <Paragraphs>805</Paragraphs>
  <Slides>49</Slides>
  <Notes>36</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9</vt:i4>
      </vt:variant>
    </vt:vector>
  </HeadingPairs>
  <TitlesOfParts>
    <vt:vector size="60" baseType="lpstr">
      <vt:lpstr>メイリオ</vt:lpstr>
      <vt:lpstr>MS PGothic</vt:lpstr>
      <vt:lpstr>Arial</vt:lpstr>
      <vt:lpstr>Segoe</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8T04:5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